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ABC3C7-CBEE-4107-BD92-8EBB4BC9C3FC}" v="49" dt="2023-03-09T00:25:46.2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DEABC3C7-CBEE-4107-BD92-8EBB4BC9C3FC}"/>
    <pc:docChg chg="modSld">
      <pc:chgData name="Roberto Gallardo" userId="49a044883f185952" providerId="LiveId" clId="{DEABC3C7-CBEE-4107-BD92-8EBB4BC9C3FC}" dt="2023-03-09T00:25:57.253" v="198" actId="1076"/>
      <pc:docMkLst>
        <pc:docMk/>
      </pc:docMkLst>
      <pc:sldChg chg="addSp modSp mod">
        <pc:chgData name="Roberto Gallardo" userId="49a044883f185952" providerId="LiveId" clId="{DEABC3C7-CBEE-4107-BD92-8EBB4BC9C3FC}" dt="2023-03-09T00:20:21.442" v="8" actId="1076"/>
        <pc:sldMkLst>
          <pc:docMk/>
          <pc:sldMk cId="1418533539" sldId="271"/>
        </pc:sldMkLst>
        <pc:picChg chg="add mod">
          <ac:chgData name="Roberto Gallardo" userId="49a044883f185952" providerId="LiveId" clId="{DEABC3C7-CBEE-4107-BD92-8EBB4BC9C3FC}" dt="2023-03-09T00:20:21.442" v="8" actId="1076"/>
          <ac:picMkLst>
            <pc:docMk/>
            <pc:sldMk cId="1418533539" sldId="271"/>
            <ac:picMk id="6" creationId="{588CB289-0CB3-B5DB-4A55-13D845720583}"/>
          </ac:picMkLst>
        </pc:picChg>
      </pc:sldChg>
      <pc:sldChg chg="addSp modSp mod">
        <pc:chgData name="Roberto Gallardo" userId="49a044883f185952" providerId="LiveId" clId="{DEABC3C7-CBEE-4107-BD92-8EBB4BC9C3FC}" dt="2023-03-09T00:22:34.966" v="67" actId="1076"/>
        <pc:sldMkLst>
          <pc:docMk/>
          <pc:sldMk cId="2124848710" sldId="281"/>
        </pc:sldMkLst>
        <pc:picChg chg="add mod">
          <ac:chgData name="Roberto Gallardo" userId="49a044883f185952" providerId="LiveId" clId="{DEABC3C7-CBEE-4107-BD92-8EBB4BC9C3FC}" dt="2023-03-09T00:22:34.966" v="67" actId="1076"/>
          <ac:picMkLst>
            <pc:docMk/>
            <pc:sldMk cId="2124848710" sldId="281"/>
            <ac:picMk id="6" creationId="{F858DC43-8E1A-11B7-F527-1EA58C8166C7}"/>
          </ac:picMkLst>
        </pc:picChg>
      </pc:sldChg>
      <pc:sldChg chg="addSp modSp mod">
        <pc:chgData name="Roberto Gallardo" userId="49a044883f185952" providerId="LiveId" clId="{DEABC3C7-CBEE-4107-BD92-8EBB4BC9C3FC}" dt="2023-03-09T00:22:50.342" v="77" actId="1076"/>
        <pc:sldMkLst>
          <pc:docMk/>
          <pc:sldMk cId="2028175529" sldId="282"/>
        </pc:sldMkLst>
        <pc:picChg chg="add mod">
          <ac:chgData name="Roberto Gallardo" userId="49a044883f185952" providerId="LiveId" clId="{DEABC3C7-CBEE-4107-BD92-8EBB4BC9C3FC}" dt="2023-03-09T00:22:50.342" v="77" actId="1076"/>
          <ac:picMkLst>
            <pc:docMk/>
            <pc:sldMk cId="2028175529" sldId="282"/>
            <ac:picMk id="7" creationId="{DBD3DF3D-0E98-C387-8205-1F397D97EECF}"/>
          </ac:picMkLst>
        </pc:picChg>
      </pc:sldChg>
      <pc:sldChg chg="addSp modSp mod">
        <pc:chgData name="Roberto Gallardo" userId="49a044883f185952" providerId="LiveId" clId="{DEABC3C7-CBEE-4107-BD92-8EBB4BC9C3FC}" dt="2023-03-09T00:23:06.149" v="87" actId="1076"/>
        <pc:sldMkLst>
          <pc:docMk/>
          <pc:sldMk cId="1326517747" sldId="283"/>
        </pc:sldMkLst>
        <pc:picChg chg="add mod">
          <ac:chgData name="Roberto Gallardo" userId="49a044883f185952" providerId="LiveId" clId="{DEABC3C7-CBEE-4107-BD92-8EBB4BC9C3FC}" dt="2023-03-09T00:23:06.149" v="87" actId="1076"/>
          <ac:picMkLst>
            <pc:docMk/>
            <pc:sldMk cId="1326517747" sldId="283"/>
            <ac:picMk id="7" creationId="{84C2F892-B848-25AF-C720-D83913A24EFB}"/>
          </ac:picMkLst>
        </pc:picChg>
      </pc:sldChg>
      <pc:sldChg chg="addSp modSp mod">
        <pc:chgData name="Roberto Gallardo" userId="49a044883f185952" providerId="LiveId" clId="{DEABC3C7-CBEE-4107-BD92-8EBB4BC9C3FC}" dt="2023-03-09T00:23:23.906" v="99" actId="1076"/>
        <pc:sldMkLst>
          <pc:docMk/>
          <pc:sldMk cId="783739251" sldId="284"/>
        </pc:sldMkLst>
        <pc:picChg chg="add mod">
          <ac:chgData name="Roberto Gallardo" userId="49a044883f185952" providerId="LiveId" clId="{DEABC3C7-CBEE-4107-BD92-8EBB4BC9C3FC}" dt="2023-03-09T00:23:23.906" v="99" actId="1076"/>
          <ac:picMkLst>
            <pc:docMk/>
            <pc:sldMk cId="783739251" sldId="284"/>
            <ac:picMk id="7" creationId="{512995A5-81B5-698C-ABA4-F4B09497BF11}"/>
          </ac:picMkLst>
        </pc:picChg>
      </pc:sldChg>
      <pc:sldChg chg="addSp modSp mod">
        <pc:chgData name="Roberto Gallardo" userId="49a044883f185952" providerId="LiveId" clId="{DEABC3C7-CBEE-4107-BD92-8EBB4BC9C3FC}" dt="2023-03-09T00:23:38.346" v="109" actId="1076"/>
        <pc:sldMkLst>
          <pc:docMk/>
          <pc:sldMk cId="1676122233" sldId="285"/>
        </pc:sldMkLst>
        <pc:picChg chg="add mod">
          <ac:chgData name="Roberto Gallardo" userId="49a044883f185952" providerId="LiveId" clId="{DEABC3C7-CBEE-4107-BD92-8EBB4BC9C3FC}" dt="2023-03-09T00:23:38.346" v="109" actId="1076"/>
          <ac:picMkLst>
            <pc:docMk/>
            <pc:sldMk cId="1676122233" sldId="285"/>
            <ac:picMk id="7" creationId="{882819C9-C4FD-6122-41DA-5376B08BE154}"/>
          </ac:picMkLst>
        </pc:picChg>
      </pc:sldChg>
      <pc:sldChg chg="addSp modSp mod">
        <pc:chgData name="Roberto Gallardo" userId="49a044883f185952" providerId="LiveId" clId="{DEABC3C7-CBEE-4107-BD92-8EBB4BC9C3FC}" dt="2023-03-09T00:23:51.385" v="117" actId="1076"/>
        <pc:sldMkLst>
          <pc:docMk/>
          <pc:sldMk cId="3100398757" sldId="286"/>
        </pc:sldMkLst>
        <pc:picChg chg="add mod">
          <ac:chgData name="Roberto Gallardo" userId="49a044883f185952" providerId="LiveId" clId="{DEABC3C7-CBEE-4107-BD92-8EBB4BC9C3FC}" dt="2023-03-09T00:23:51.385" v="117" actId="1076"/>
          <ac:picMkLst>
            <pc:docMk/>
            <pc:sldMk cId="3100398757" sldId="286"/>
            <ac:picMk id="7" creationId="{4A65ADF0-83E3-2298-AD9D-680EEAF661F3}"/>
          </ac:picMkLst>
        </pc:picChg>
      </pc:sldChg>
      <pc:sldChg chg="addSp modSp mod">
        <pc:chgData name="Roberto Gallardo" userId="49a044883f185952" providerId="LiveId" clId="{DEABC3C7-CBEE-4107-BD92-8EBB4BC9C3FC}" dt="2023-03-09T00:24:08.025" v="129" actId="1076"/>
        <pc:sldMkLst>
          <pc:docMk/>
          <pc:sldMk cId="1546475425" sldId="287"/>
        </pc:sldMkLst>
        <pc:picChg chg="add mod">
          <ac:chgData name="Roberto Gallardo" userId="49a044883f185952" providerId="LiveId" clId="{DEABC3C7-CBEE-4107-BD92-8EBB4BC9C3FC}" dt="2023-03-09T00:24:08.025" v="129" actId="1076"/>
          <ac:picMkLst>
            <pc:docMk/>
            <pc:sldMk cId="1546475425" sldId="287"/>
            <ac:picMk id="7" creationId="{4356268C-333A-DF21-5447-1809BCDEFD1A}"/>
          </ac:picMkLst>
        </pc:picChg>
      </pc:sldChg>
      <pc:sldChg chg="addSp modSp mod">
        <pc:chgData name="Roberto Gallardo" userId="49a044883f185952" providerId="LiveId" clId="{DEABC3C7-CBEE-4107-BD92-8EBB4BC9C3FC}" dt="2023-03-09T00:24:36.845" v="148" actId="1076"/>
        <pc:sldMkLst>
          <pc:docMk/>
          <pc:sldMk cId="1380517306" sldId="288"/>
        </pc:sldMkLst>
        <pc:picChg chg="add mod">
          <ac:chgData name="Roberto Gallardo" userId="49a044883f185952" providerId="LiveId" clId="{DEABC3C7-CBEE-4107-BD92-8EBB4BC9C3FC}" dt="2023-03-09T00:24:36.845" v="148" actId="1076"/>
          <ac:picMkLst>
            <pc:docMk/>
            <pc:sldMk cId="1380517306" sldId="288"/>
            <ac:picMk id="7" creationId="{507A7A54-58F9-045D-505B-C068950658EA}"/>
          </ac:picMkLst>
        </pc:picChg>
      </pc:sldChg>
      <pc:sldChg chg="addSp modSp mod">
        <pc:chgData name="Roberto Gallardo" userId="49a044883f185952" providerId="LiveId" clId="{DEABC3C7-CBEE-4107-BD92-8EBB4BC9C3FC}" dt="2023-03-09T00:25:00.327" v="161" actId="1076"/>
        <pc:sldMkLst>
          <pc:docMk/>
          <pc:sldMk cId="1388671151" sldId="289"/>
        </pc:sldMkLst>
        <pc:picChg chg="add mod">
          <ac:chgData name="Roberto Gallardo" userId="49a044883f185952" providerId="LiveId" clId="{DEABC3C7-CBEE-4107-BD92-8EBB4BC9C3FC}" dt="2023-03-09T00:25:00.327" v="161" actId="1076"/>
          <ac:picMkLst>
            <pc:docMk/>
            <pc:sldMk cId="1388671151" sldId="289"/>
            <ac:picMk id="7" creationId="{2437B72C-E706-A991-8D6F-5F373C423867}"/>
          </ac:picMkLst>
        </pc:picChg>
      </pc:sldChg>
      <pc:sldChg chg="addSp modSp mod">
        <pc:chgData name="Roberto Gallardo" userId="49a044883f185952" providerId="LiveId" clId="{DEABC3C7-CBEE-4107-BD92-8EBB4BC9C3FC}" dt="2023-03-09T00:25:39.901" v="187" actId="1076"/>
        <pc:sldMkLst>
          <pc:docMk/>
          <pc:sldMk cId="2355376039" sldId="290"/>
        </pc:sldMkLst>
        <pc:picChg chg="add mod">
          <ac:chgData name="Roberto Gallardo" userId="49a044883f185952" providerId="LiveId" clId="{DEABC3C7-CBEE-4107-BD92-8EBB4BC9C3FC}" dt="2023-03-09T00:25:39.901" v="187" actId="1076"/>
          <ac:picMkLst>
            <pc:docMk/>
            <pc:sldMk cId="2355376039" sldId="290"/>
            <ac:picMk id="8" creationId="{7DF1BDB4-8F9A-51B1-C1B1-2F57C467FB62}"/>
          </ac:picMkLst>
        </pc:picChg>
      </pc:sldChg>
      <pc:sldChg chg="addSp modSp mod">
        <pc:chgData name="Roberto Gallardo" userId="49a044883f185952" providerId="LiveId" clId="{DEABC3C7-CBEE-4107-BD92-8EBB4BC9C3FC}" dt="2023-03-09T00:25:57.253" v="198" actId="1076"/>
        <pc:sldMkLst>
          <pc:docMk/>
          <pc:sldMk cId="3757257295" sldId="291"/>
        </pc:sldMkLst>
        <pc:picChg chg="add mod">
          <ac:chgData name="Roberto Gallardo" userId="49a044883f185952" providerId="LiveId" clId="{DEABC3C7-CBEE-4107-BD92-8EBB4BC9C3FC}" dt="2023-03-09T00:25:57.253" v="198" actId="1076"/>
          <ac:picMkLst>
            <pc:docMk/>
            <pc:sldMk cId="3757257295" sldId="291"/>
            <ac:picMk id="8" creationId="{D70362A8-58B2-7801-BDAD-A2E896B9D44A}"/>
          </ac:picMkLst>
        </pc:picChg>
      </pc:sldChg>
      <pc:sldChg chg="addSp modSp mod">
        <pc:chgData name="Roberto Gallardo" userId="49a044883f185952" providerId="LiveId" clId="{DEABC3C7-CBEE-4107-BD92-8EBB4BC9C3FC}" dt="2023-03-09T00:24:22.001" v="138" actId="1076"/>
        <pc:sldMkLst>
          <pc:docMk/>
          <pc:sldMk cId="1259856727" sldId="292"/>
        </pc:sldMkLst>
        <pc:picChg chg="add mod">
          <ac:chgData name="Roberto Gallardo" userId="49a044883f185952" providerId="LiveId" clId="{DEABC3C7-CBEE-4107-BD92-8EBB4BC9C3FC}" dt="2023-03-09T00:24:22.001" v="138" actId="1076"/>
          <ac:picMkLst>
            <pc:docMk/>
            <pc:sldMk cId="1259856727" sldId="292"/>
            <ac:picMk id="7" creationId="{5617DC2A-DC6F-EAB3-6C5F-46F2DDBD3450}"/>
          </ac:picMkLst>
        </pc:picChg>
      </pc:sldChg>
      <pc:sldChg chg="addSp modSp mod">
        <pc:chgData name="Roberto Gallardo" userId="49a044883f185952" providerId="LiveId" clId="{DEABC3C7-CBEE-4107-BD92-8EBB4BC9C3FC}" dt="2023-03-09T00:22:18.966" v="57" actId="1076"/>
        <pc:sldMkLst>
          <pc:docMk/>
          <pc:sldMk cId="3324519687" sldId="293"/>
        </pc:sldMkLst>
        <pc:picChg chg="add mod">
          <ac:chgData name="Roberto Gallardo" userId="49a044883f185952" providerId="LiveId" clId="{DEABC3C7-CBEE-4107-BD92-8EBB4BC9C3FC}" dt="2023-03-09T00:22:18.966" v="57" actId="1076"/>
          <ac:picMkLst>
            <pc:docMk/>
            <pc:sldMk cId="3324519687" sldId="293"/>
            <ac:picMk id="7" creationId="{69B9348F-1B3F-07ED-668C-7B6B9DED64E2}"/>
          </ac:picMkLst>
        </pc:picChg>
      </pc:sldChg>
      <pc:sldChg chg="addSp modSp mod">
        <pc:chgData name="Roberto Gallardo" userId="49a044883f185952" providerId="LiveId" clId="{DEABC3C7-CBEE-4107-BD92-8EBB4BC9C3FC}" dt="2023-03-09T00:21:40.549" v="36" actId="1076"/>
        <pc:sldMkLst>
          <pc:docMk/>
          <pc:sldMk cId="3256182630" sldId="295"/>
        </pc:sldMkLst>
        <pc:picChg chg="add mod">
          <ac:chgData name="Roberto Gallardo" userId="49a044883f185952" providerId="LiveId" clId="{DEABC3C7-CBEE-4107-BD92-8EBB4BC9C3FC}" dt="2023-03-09T00:21:40.549" v="36" actId="1076"/>
          <ac:picMkLst>
            <pc:docMk/>
            <pc:sldMk cId="3256182630" sldId="295"/>
            <ac:picMk id="7" creationId="{ABB52462-F27C-F9B0-7E7D-75D19014AEDA}"/>
          </ac:picMkLst>
        </pc:picChg>
      </pc:sldChg>
      <pc:sldChg chg="addSp modSp mod">
        <pc:chgData name="Roberto Gallardo" userId="49a044883f185952" providerId="LiveId" clId="{DEABC3C7-CBEE-4107-BD92-8EBB4BC9C3FC}" dt="2023-03-09T00:21:58.230" v="44" actId="1076"/>
        <pc:sldMkLst>
          <pc:docMk/>
          <pc:sldMk cId="4057156843" sldId="296"/>
        </pc:sldMkLst>
        <pc:picChg chg="add mod">
          <ac:chgData name="Roberto Gallardo" userId="49a044883f185952" providerId="LiveId" clId="{DEABC3C7-CBEE-4107-BD92-8EBB4BC9C3FC}" dt="2023-03-09T00:21:58.230" v="44" actId="1076"/>
          <ac:picMkLst>
            <pc:docMk/>
            <pc:sldMk cId="4057156843" sldId="296"/>
            <ac:picMk id="7" creationId="{18203F4A-FB24-41B8-45EC-5D2A10FBE030}"/>
          </ac:picMkLst>
        </pc:picChg>
      </pc:sldChg>
      <pc:sldChg chg="addSp modSp mod">
        <pc:chgData name="Roberto Gallardo" userId="49a044883f185952" providerId="LiveId" clId="{DEABC3C7-CBEE-4107-BD92-8EBB4BC9C3FC}" dt="2023-03-09T00:21:06.738" v="26" actId="1076"/>
        <pc:sldMkLst>
          <pc:docMk/>
          <pc:sldMk cId="2080110827" sldId="297"/>
        </pc:sldMkLst>
        <pc:picChg chg="add mod">
          <ac:chgData name="Roberto Gallardo" userId="49a044883f185952" providerId="LiveId" clId="{DEABC3C7-CBEE-4107-BD92-8EBB4BC9C3FC}" dt="2023-03-09T00:21:06.738" v="26" actId="1076"/>
          <ac:picMkLst>
            <pc:docMk/>
            <pc:sldMk cId="2080110827" sldId="297"/>
            <ac:picMk id="6" creationId="{50EE8842-6EB6-B7BA-61F1-EA7C2ED66F9C}"/>
          </ac:picMkLst>
        </pc:picChg>
      </pc:sldChg>
      <pc:sldChg chg="addSp modSp mod">
        <pc:chgData name="Roberto Gallardo" userId="49a044883f185952" providerId="LiveId" clId="{DEABC3C7-CBEE-4107-BD92-8EBB4BC9C3FC}" dt="2023-03-09T00:20:41.090" v="16" actId="1076"/>
        <pc:sldMkLst>
          <pc:docMk/>
          <pc:sldMk cId="1532666867" sldId="298"/>
        </pc:sldMkLst>
        <pc:picChg chg="add mod">
          <ac:chgData name="Roberto Gallardo" userId="49a044883f185952" providerId="LiveId" clId="{DEABC3C7-CBEE-4107-BD92-8EBB4BC9C3FC}" dt="2023-03-09T00:20:41.090" v="16" actId="1076"/>
          <ac:picMkLst>
            <pc:docMk/>
            <pc:sldMk cId="1532666867" sldId="298"/>
            <ac:picMk id="6" creationId="{842185A5-3F43-74F0-E8E6-6A92AC226083}"/>
          </ac:picMkLst>
        </pc:picChg>
      </pc:sldChg>
      <pc:sldChg chg="addSp modSp mod">
        <pc:chgData name="Roberto Gallardo" userId="49a044883f185952" providerId="LiveId" clId="{DEABC3C7-CBEE-4107-BD92-8EBB4BC9C3FC}" dt="2023-03-09T00:25:18.086" v="173" actId="1076"/>
        <pc:sldMkLst>
          <pc:docMk/>
          <pc:sldMk cId="1951376777" sldId="299"/>
        </pc:sldMkLst>
        <pc:picChg chg="add mod">
          <ac:chgData name="Roberto Gallardo" userId="49a044883f185952" providerId="LiveId" clId="{DEABC3C7-CBEE-4107-BD92-8EBB4BC9C3FC}" dt="2023-03-09T00:25:18.086" v="173" actId="1076"/>
          <ac:picMkLst>
            <pc:docMk/>
            <pc:sldMk cId="1951376777" sldId="299"/>
            <ac:picMk id="7" creationId="{33E1AB38-3FAF-7ED1-7AD9-F7D80C83913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Buncomb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44749CD-1BD5-E548-6088-97188F6A7AC1}"/>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2C17DA7-1574-75B2-9337-1742237E14B0}"/>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88CB289-0CB3-B5DB-4A55-13D8457205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42185A5-3F43-74F0-E8E6-6A92AC2260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0EE8842-6EB6-B7BA-61F1-EA7C2ED66F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5A797C1-19B0-E546-55D0-8B962315556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ABB52462-F27C-F9B0-7E7D-75D19014AE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0C87906-AF75-0D8C-F9C3-D29E7481875C}"/>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18203F4A-FB24-41B8-45EC-5D2A10FBE0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42CED68-FB6A-0C5B-1BF3-7EC5CBAC5DB1}"/>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69B9348F-1B3F-07ED-668C-7B6B9DED64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148DDB6-C975-79BA-1EEF-4D5ACC1B9056}"/>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F858DC43-8E1A-11B7-F527-1EA58C8166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25CE352-B538-F9ED-EA29-D75EBF775A5F}"/>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BD3DF3D-0E98-C387-8205-1F397D97EE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0921948A-80C0-6CA8-A767-8836D3289DB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4C2F892-B848-25AF-C720-D83913A24E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631"/>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863D67D5-4588-1FCF-394D-3AF41493EDEE}"/>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12995A5-81B5-698C-ABA4-F4B09497BF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BE3322BD-4988-F193-8F6C-EAD3D684CA2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82819C9-C4FD-6122-41DA-5376B08BE1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909A6F3B-C0FE-4A9E-0136-0BBA805D071F}"/>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A65ADF0-83E3-2298-AD9D-680EEAF66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5" cy="453310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00C33C8-EF25-6C68-D008-90BB399BCCE7}"/>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356268C-333A-DF21-5447-1809BCDEFD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AE0B16DB-9E7B-3708-36BB-D87B2523D87C}"/>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617DC2A-DC6F-EAB3-6C5F-46F2DDBD34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3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927FE3B-2F51-310F-37D3-21AE40A61ABD}"/>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07A7A54-58F9-045D-505B-C068950658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86466CAC-D171-E495-97BB-FB090F5F6D1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437B72C-E706-A991-8D6F-5F373C4238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8A06A7EA-050D-472B-68CD-E903ABFFBBE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33E1AB38-3FAF-7ED1-7AD9-F7D80C8391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B6AEDDB7-8BCE-C3E2-1654-B05CEAC2FE44}"/>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7DF1BDB4-8F9A-51B1-C1B1-2F57C467FB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460" y="1417027"/>
            <a:ext cx="6401140" cy="452661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9040052-F861-E89A-6D7E-CAC785C4F08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CB8EAFA8-EAF3-A382-1EC1-3C9F19D2450C}"/>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D70362A8-58B2-7801-BDAD-A2E896B9D4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991"/>
            <a:ext cx="6402981" cy="452791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1DE9FF4-2790-6175-2702-6A68ED7053CC}"/>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361375C-7917-8999-B932-E1407D82362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B99905-E590-0641-C929-4AA8CAB8E816}"/>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6057" y="2139238"/>
            <a:ext cx="1198148" cy="1814463"/>
            <a:chOff x="10485745" y="3067137"/>
            <a:chExt cx="1198148" cy="1814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98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0671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109588"/>
              <a:ext cx="0" cy="48887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84819" y="4481314"/>
              <a:ext cx="0" cy="40028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181689"/>
            <a:ext cx="1198148" cy="1943352"/>
            <a:chOff x="2775759" y="2548658"/>
            <a:chExt cx="1198148" cy="19433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1134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486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48658"/>
              <a:ext cx="0" cy="5647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4005953"/>
              <a:ext cx="0" cy="4860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82F8B20-6D6E-3163-05B3-A8859CF9038C}"/>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3F2DF73-28EC-9919-8B04-B03B70B41FF9}"/>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2F3898C-509D-4D3A-EB3E-2885AC87989E}"/>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47509E91-5017-D846-9F7E-2C2557E909DD}"/>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905BE11B-44F3-5589-0591-5668CFAB7DF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A2A1BFD-A5EB-2F88-CD93-5C4451743099}"/>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33DC9B1C-7F5E-C1DB-D5ED-EEF26728C18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E0F7056-AE87-04FB-2EFA-4DAD9AACA04B}"/>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03</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5</cp:revision>
  <dcterms:created xsi:type="dcterms:W3CDTF">2022-07-04T13:32:28Z</dcterms:created>
  <dcterms:modified xsi:type="dcterms:W3CDTF">2023-03-09T00:26:05Z</dcterms:modified>
</cp:coreProperties>
</file>